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  <p:sldMasterId id="2147484063" r:id="rId5"/>
  </p:sldMasterIdLst>
  <p:notesMasterIdLst>
    <p:notesMasterId r:id="rId9"/>
  </p:notesMasterIdLst>
  <p:handoutMasterIdLst>
    <p:handoutMasterId r:id="rId10"/>
  </p:handoutMasterIdLst>
  <p:sldIdLst>
    <p:sldId id="373" r:id="rId6"/>
    <p:sldId id="3619" r:id="rId7"/>
    <p:sldId id="2147374543" r:id="rId8"/>
  </p:sldIdLst>
  <p:sldSz cx="12192000" cy="6858000"/>
  <p:notesSz cx="7010400" cy="9296400"/>
  <p:embeddedFontLst>
    <p:embeddedFont>
      <p:font typeface="Arial Narrow" panose="020B0606020202030204" pitchFamily="34" charset="0"/>
      <p:regular r:id="rId11"/>
      <p:bold r:id="rId12"/>
      <p:italic r:id="rId13"/>
      <p:boldItalic r:id="rId14"/>
    </p:embeddedFont>
    <p:embeddedFont>
      <p:font typeface="Century Gothic" panose="020B0502020202020204" pitchFamily="34" charset="0"/>
      <p:regular r:id="rId15"/>
      <p:bold r:id="rId16"/>
      <p:italic r:id="rId17"/>
      <p:boldItalic r:id="rId18"/>
    </p:embeddedFont>
    <p:embeddedFont>
      <p:font typeface="PTCRaleway" panose="020B0604020202020204" charset="0"/>
      <p:regular r:id="rId19"/>
      <p:bold r:id="rId20"/>
      <p:italic r:id="rId21"/>
      <p:boldItalic r:id="rId22"/>
    </p:embeddedFont>
    <p:embeddedFont>
      <p:font typeface="PTCRaleway Black" panose="020B0604020202020204" charset="0"/>
      <p:bold r:id="rId23"/>
      <p:boldItalic r:id="rId24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88" autoAdjust="0"/>
    <p:restoredTop sz="95226" autoAdjust="0"/>
  </p:normalViewPr>
  <p:slideViewPr>
    <p:cSldViewPr snapToGrid="0" snapToObjects="1">
      <p:cViewPr varScale="1">
        <p:scale>
          <a:sx n="86" d="100"/>
          <a:sy n="86" d="100"/>
        </p:scale>
        <p:origin x="744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font" Target="fonts/font11.fntdata"/><Relationship Id="rId7" Type="http://schemas.openxmlformats.org/officeDocument/2006/relationships/slide" Target="slides/slide2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font" Target="fonts/font1.fntdata"/><Relationship Id="rId24" Type="http://schemas.openxmlformats.org/officeDocument/2006/relationships/font" Target="fonts/font14.fntdata"/><Relationship Id="rId5" Type="http://schemas.openxmlformats.org/officeDocument/2006/relationships/slideMaster" Target="slideMasters/slideMaster2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  <pc:docChgLst>
    <pc:chgData name="Vasilis Karastergios" userId="2aa9c0a1-323b-48aa-83e0-abc8de3a69d0" providerId="ADAL" clId="{3A3D5ACB-750C-4195-899B-466533442B0B}"/>
    <pc:docChg chg="undo custSel addSld delSld modSld">
      <pc:chgData name="Vasilis Karastergios" userId="2aa9c0a1-323b-48aa-83e0-abc8de3a69d0" providerId="ADAL" clId="{3A3D5ACB-750C-4195-899B-466533442B0B}" dt="2022-09-14T08:20:17.413" v="6" actId="47"/>
      <pc:docMkLst>
        <pc:docMk/>
      </pc:docMkLst>
      <pc:sldChg chg="delSp mod">
        <pc:chgData name="Vasilis Karastergios" userId="2aa9c0a1-323b-48aa-83e0-abc8de3a69d0" providerId="ADAL" clId="{3A3D5ACB-750C-4195-899B-466533442B0B}" dt="2022-09-14T07:08:55.372" v="1" actId="478"/>
        <pc:sldMkLst>
          <pc:docMk/>
          <pc:sldMk cId="414466384" sldId="256"/>
        </pc:sldMkLst>
        <pc:spChg chg="del">
          <ac:chgData name="Vasilis Karastergios" userId="2aa9c0a1-323b-48aa-83e0-abc8de3a69d0" providerId="ADAL" clId="{3A3D5ACB-750C-4195-899B-466533442B0B}" dt="2022-09-14T07:08:53.996" v="0" actId="478"/>
          <ac:spMkLst>
            <pc:docMk/>
            <pc:sldMk cId="414466384" sldId="256"/>
            <ac:spMk id="6" creationId="{CB2687C6-2C40-4DA8-B634-FB273BDBD706}"/>
          </ac:spMkLst>
        </pc:spChg>
        <pc:spChg chg="del">
          <ac:chgData name="Vasilis Karastergios" userId="2aa9c0a1-323b-48aa-83e0-abc8de3a69d0" providerId="ADAL" clId="{3A3D5ACB-750C-4195-899B-466533442B0B}" dt="2022-09-14T07:08:55.372" v="1" actId="478"/>
          <ac:spMkLst>
            <pc:docMk/>
            <pc:sldMk cId="414466384" sldId="256"/>
            <ac:spMk id="7" creationId="{E1EF294E-1A80-450E-8536-7C781397D58A}"/>
          </ac:spMkLst>
        </pc:spChg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4094293267" sldId="26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71868114" sldId="26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029366665" sldId="26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738032135" sldId="27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254172494" sldId="27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05666042" sldId="27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63628684" sldId="27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99616190" sldId="27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919623369" sldId="27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4257292052" sldId="27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53453059" sldId="27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508150877" sldId="27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25649633" sldId="27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997951892" sldId="28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92660530" sldId="28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6095818" sldId="28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514216803" sldId="28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882189469" sldId="28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695834442" sldId="28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22525265" sldId="28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787121163" sldId="29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149996595" sldId="29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304444699" sldId="29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87686022" sldId="29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937607177" sldId="29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99592187" sldId="29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337230950" sldId="297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95664574" sldId="29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362471767" sldId="29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135937029" sldId="30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623953556" sldId="30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318941235" sldId="30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270403626" sldId="303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697543259" sldId="30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133282100" sldId="30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501544537" sldId="30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572733746" sldId="307"/>
        </pc:sldMkLst>
      </pc:sldChg>
      <pc:sldChg chg="del">
        <pc:chgData name="Vasilis Karastergios" userId="2aa9c0a1-323b-48aa-83e0-abc8de3a69d0" providerId="ADAL" clId="{3A3D5ACB-750C-4195-899B-466533442B0B}" dt="2022-09-14T08:20:17.413" v="6" actId="47"/>
        <pc:sldMkLst>
          <pc:docMk/>
          <pc:sldMk cId="1657070728" sldId="308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85198492" sldId="314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354864347" sldId="31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39142375" sldId="317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35946654" sldId="318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59037265" sldId="319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614332943" sldId="32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769370881" sldId="32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49512705" sldId="32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151169478" sldId="325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888175597" sldId="32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228136347" sldId="331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76781885" sldId="342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014045341" sldId="344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02961565" sldId="346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223258149" sldId="348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3287804751" sldId="351"/>
        </pc:sldMkLst>
      </pc:sldChg>
      <pc:sldChg chg="add del">
        <pc:chgData name="Vasilis Karastergios" userId="2aa9c0a1-323b-48aa-83e0-abc8de3a69d0" providerId="ADAL" clId="{3A3D5ACB-750C-4195-899B-466533442B0B}" dt="2022-09-14T08:16:24.087" v="3" actId="47"/>
        <pc:sldMkLst>
          <pc:docMk/>
          <pc:sldMk cId="597429365" sldId="373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672931568" sldId="37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961241260" sldId="360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3222589753" sldId="361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732362419" sldId="361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036268873" sldId="3617"/>
        </pc:sldMkLst>
      </pc:sldChg>
      <pc:sldChg chg="add del">
        <pc:chgData name="Vasilis Karastergios" userId="2aa9c0a1-323b-48aa-83e0-abc8de3a69d0" providerId="ADAL" clId="{3A3D5ACB-750C-4195-899B-466533442B0B}" dt="2022-09-14T08:16:24.087" v="3" actId="47"/>
        <pc:sldMkLst>
          <pc:docMk/>
          <pc:sldMk cId="4133373926" sldId="3619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490288003" sldId="3620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182045187" sldId="362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70707387" sldId="4265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261095948" sldId="426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2878334215" sldId="4269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901603402" sldId="4270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300956671" sldId="4271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009971067" sldId="4272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44139227" sldId="4273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586647777" sldId="4274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1215098397" sldId="4275"/>
        </pc:sldMkLst>
      </pc:sldChg>
      <pc:sldChg chg="del">
        <pc:chgData name="Vasilis Karastergios" userId="2aa9c0a1-323b-48aa-83e0-abc8de3a69d0" providerId="ADAL" clId="{3A3D5ACB-750C-4195-899B-466533442B0B}" dt="2022-09-14T08:17:17.305" v="4" actId="47"/>
        <pc:sldMkLst>
          <pc:docMk/>
          <pc:sldMk cId="2776648146" sldId="4276"/>
        </pc:sldMkLst>
      </pc:sldChg>
      <pc:sldChg chg="add del">
        <pc:chgData name="Vasilis Karastergios" userId="2aa9c0a1-323b-48aa-83e0-abc8de3a69d0" providerId="ADAL" clId="{3A3D5ACB-750C-4195-899B-466533442B0B}" dt="2022-09-14T08:18:26.374" v="5" actId="47"/>
        <pc:sldMkLst>
          <pc:docMk/>
          <pc:sldMk cId="1826397490" sldId="427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9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9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94084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67210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3.jp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34.jp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 dpi="0" rotWithShape="1">
            <a:blip r:embed="rId4"/>
            <a:srcRect/>
            <a:stretch>
              <a:fillRect l="-1000" t="-2000"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676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 dpi="0" rotWithShape="1">
            <a:blip r:embed="rId4"/>
            <a:srcRect/>
            <a:stretch>
              <a:fillRect l="-6000" t="-2000" r="-10000"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8438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7040E846-1D5C-4E41-B0F7-5EC3673E0D47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indent="0" algn="ctr" defTabSz="914400" fontAlgn="auto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</a:endParaRPr>
          </a:p>
        </p:txBody>
      </p:sp>
      <p:sp>
        <p:nvSpPr>
          <p:cNvPr id="20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092016" y="2730899"/>
            <a:ext cx="6113720" cy="1402435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647C623-B09A-46D5-BE23-B5285BBAD043}"/>
              </a:ext>
            </a:extLst>
          </p:cNvPr>
          <p:cNvCxnSpPr/>
          <p:nvPr/>
        </p:nvCxnSpPr>
        <p:spPr>
          <a:xfrm>
            <a:off x="4080163" y="1054677"/>
            <a:ext cx="0" cy="4754880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B0D03874-045E-487B-95DF-2D080FE61FFD}"/>
              </a:ext>
            </a:extLst>
          </p:cNvPr>
          <p:cNvSpPr/>
          <p:nvPr/>
        </p:nvSpPr>
        <p:spPr>
          <a:xfrm flipH="1" flipV="1">
            <a:off x="510776" y="2887137"/>
            <a:ext cx="960120" cy="4571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A860E4D6-2036-44DC-984D-7A163253F7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8788" y="3225800"/>
            <a:ext cx="3414712" cy="502061"/>
          </a:xfrm>
        </p:spPr>
        <p:txBody>
          <a:bodyPr vert="horz" wrap="square" lIns="0" tIns="9525" rIns="0" bIns="0" rtlCol="0" anchor="t" anchorCtr="0">
            <a:spAutoFit/>
          </a:bodyPr>
          <a:lstStyle>
            <a:lvl1pPr marL="0" indent="0">
              <a:buFontTx/>
              <a:buNone/>
              <a:defRPr lang="en-US" sz="4000" b="1" cap="all" baseline="0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80000"/>
              </a:lnSpc>
              <a:spcBef>
                <a:spcPct val="0"/>
              </a:spcBef>
            </a:pPr>
            <a:r>
              <a:rPr lang="en-US" dirty="0"/>
              <a:t>agenda</a:t>
            </a:r>
          </a:p>
        </p:txBody>
      </p:sp>
      <p:pic>
        <p:nvPicPr>
          <p:cNvPr id="49" name="Graphic 48">
            <a:extLst>
              <a:ext uri="{FF2B5EF4-FFF2-40B4-BE49-F238E27FC236}">
                <a16:creationId xmlns:a16="http://schemas.microsoft.com/office/drawing/2014/main" id="{5EFD8A7B-D58D-4112-B693-C03F32A431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436B54C1-653F-4869-947F-6C172CCB93A1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55" name="Freeform 4">
            <a:extLst>
              <a:ext uri="{FF2B5EF4-FFF2-40B4-BE49-F238E27FC236}">
                <a16:creationId xmlns:a16="http://schemas.microsoft.com/office/drawing/2014/main" id="{9A888845-702F-4255-9C1B-82E0DBCA4DC5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22DBE419-5825-42FC-8A68-32F7BF373B77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FA2E5586-27CA-4BF8-B076-383D4E5E9CB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6BADC80-74EA-4093-94B8-2B57F68FD1D8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57" name="Graphic 42">
              <a:extLst>
                <a:ext uri="{FF2B5EF4-FFF2-40B4-BE49-F238E27FC236}">
                  <a16:creationId xmlns:a16="http://schemas.microsoft.com/office/drawing/2014/main" id="{BFA9F52E-93C8-47F4-88E3-BDC8247E1830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54E24622-0387-433E-82BF-84D08C3905C8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01C570B7-C941-48C9-B4DF-4A879F2FE10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98B0C69C-C402-42C7-BEED-F25380BF0765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63157511-D43C-4555-8DFF-228BD5191FA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F8A6BD5E-AE51-495E-A97B-65D98DC6B4E1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EC1F52B5-570E-4103-B06C-AA7ED1CACB39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F4104CB6-7C14-4DAE-AD78-86EEB833A414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C0F8F235-261E-4336-A0CE-6A19625BE5FE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43687C3-EADD-49D3-BA73-81B3E98CD1B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D8357641-D1C5-4B2F-B365-CB9A77A9E1CB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6495F8F-0348-43A4-8358-40057088198F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A3AB7FCF-0813-424F-ACF8-027017E9AA29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25AC9BF-5ACD-4CE6-919A-B81D30511CB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AC396447-7DEC-48B7-B978-51DD8EC63955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87375B46-6B92-4464-8171-A51F81DAD3C7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EAF4DB2F-0ADB-4695-B312-8F915EF22EEF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59" name="Graphic 42">
              <a:extLst>
                <a:ext uri="{FF2B5EF4-FFF2-40B4-BE49-F238E27FC236}">
                  <a16:creationId xmlns:a16="http://schemas.microsoft.com/office/drawing/2014/main" id="{1FCA7EAD-3184-49B1-B496-D7B65DDA290E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60" name="Graphic 42">
                <a:extLst>
                  <a:ext uri="{FF2B5EF4-FFF2-40B4-BE49-F238E27FC236}">
                    <a16:creationId xmlns:a16="http://schemas.microsoft.com/office/drawing/2014/main" id="{DA94B54E-1DD0-4BF0-8715-7434AE97E1AC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62" name="Freeform: Shape 61">
                  <a:extLst>
                    <a:ext uri="{FF2B5EF4-FFF2-40B4-BE49-F238E27FC236}">
                      <a16:creationId xmlns:a16="http://schemas.microsoft.com/office/drawing/2014/main" id="{66B162D9-E465-4942-A12E-B67F1FEFDAF2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3" name="Freeform: Shape 62">
                  <a:extLst>
                    <a:ext uri="{FF2B5EF4-FFF2-40B4-BE49-F238E27FC236}">
                      <a16:creationId xmlns:a16="http://schemas.microsoft.com/office/drawing/2014/main" id="{CB934803-47FF-4567-974F-1F0D936C8850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4" name="Freeform: Shape 63">
                  <a:extLst>
                    <a:ext uri="{FF2B5EF4-FFF2-40B4-BE49-F238E27FC236}">
                      <a16:creationId xmlns:a16="http://schemas.microsoft.com/office/drawing/2014/main" id="{1EBB755F-67CD-4F4F-98E3-B472216D9716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5" name="Freeform: Shape 64">
                  <a:extLst>
                    <a:ext uri="{FF2B5EF4-FFF2-40B4-BE49-F238E27FC236}">
                      <a16:creationId xmlns:a16="http://schemas.microsoft.com/office/drawing/2014/main" id="{2515DE91-B6E2-4080-8865-EF498771BD19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66" name="Freeform: Shape 65">
                  <a:extLst>
                    <a:ext uri="{FF2B5EF4-FFF2-40B4-BE49-F238E27FC236}">
                      <a16:creationId xmlns:a16="http://schemas.microsoft.com/office/drawing/2014/main" id="{2AD28C4D-DEC0-49AE-9873-910583D9BB27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8EBCF16E-F6D6-41F7-A29A-923F1AF570CC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82" name="Rectangle 6">
            <a:extLst>
              <a:ext uri="{FF2B5EF4-FFF2-40B4-BE49-F238E27FC236}">
                <a16:creationId xmlns:a16="http://schemas.microsoft.com/office/drawing/2014/main" id="{CDBE2857-A9C4-41ED-B64A-B9022B7D6FD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295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568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5282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255643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644215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264000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523030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935672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396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04793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19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09876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40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86602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143604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67249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04108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13737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930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3207974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5192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5321701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3FA98A-A8B0-4699-9FBF-9A5BFAC358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AFCD1C8-93FC-413A-9218-F40B292C285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B2CAA10-BEA6-4759-8F2C-990D43073E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FBCD2D-C235-4F1E-B78C-E4BDF3D41333}" type="datetimeFigureOut">
              <a:rPr lang="en-US" smtClean="0"/>
              <a:t>10/19/202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2EF987-70C8-4FAC-867A-BC856FAF7C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F26344-E65E-49E3-815F-436EB8067C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14ABE7-E9EE-40C1-8128-7C2931D0A7E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292508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1C446A1-265A-4DAE-946F-92FDA59633A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568325" y="1514887"/>
            <a:ext cx="3557588" cy="4700016"/>
          </a:xfrm>
          <a:ln>
            <a:solidFill>
              <a:schemeClr val="bg2"/>
            </a:solidFill>
          </a:ln>
        </p:spPr>
        <p:txBody>
          <a:bodyPr bIns="731520" anchor="ctr" anchorCtr="0"/>
          <a:lstStyle>
            <a:lvl1pPr marL="0" indent="0" algn="ctr">
              <a:buFontTx/>
              <a:buNone/>
              <a:defRPr sz="1800"/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88160" y="1514887"/>
            <a:ext cx="7068947" cy="4700016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b="0" dirty="0"/>
            </a:lvl2pPr>
            <a:lvl3pPr>
              <a:defRPr lang="en-US" b="0" dirty="0"/>
            </a:lvl3pPr>
            <a:lvl4pPr>
              <a:defRPr lang="en-US" b="0" dirty="0"/>
            </a:lvl4pPr>
            <a:lvl5pPr>
              <a:defRPr lang="en-US" b="0" dirty="0"/>
            </a:lvl5pPr>
          </a:lstStyle>
          <a:p>
            <a:pPr lvl="0"/>
            <a:r>
              <a:rPr lang="en-US" dirty="0"/>
              <a:t>Add text</a:t>
            </a:r>
          </a:p>
          <a:p>
            <a:pPr marL="658368" lvl="1" indent="-271694"/>
            <a:r>
              <a:rPr lang="en-US" dirty="0"/>
              <a:t>Second level</a:t>
            </a:r>
          </a:p>
          <a:p>
            <a:pPr marL="914400" lvl="2" indent="-210312"/>
            <a:r>
              <a:rPr lang="en-US" dirty="0"/>
              <a:t>Third level</a:t>
            </a:r>
          </a:p>
          <a:p>
            <a:pPr marL="1197864" lvl="3" indent="-210312"/>
            <a:r>
              <a:rPr lang="en-US" dirty="0"/>
              <a:t>Fourth level</a:t>
            </a:r>
          </a:p>
          <a:p>
            <a:pPr marL="1444752" lvl="4" indent="-182880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0F9AA358-93D1-4A98-8192-5C6848FF5637}"/>
              </a:ext>
            </a:extLst>
          </p:cNvPr>
          <p:cNvGrpSpPr/>
          <p:nvPr userDrawn="1"/>
        </p:nvGrpSpPr>
        <p:grpSpPr>
          <a:xfrm flipH="1" flipV="1">
            <a:off x="4188115" y="2267344"/>
            <a:ext cx="152274" cy="3960685"/>
            <a:chOff x="5814441" y="100216"/>
            <a:chExt cx="152274" cy="3960685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8500F9B5-D11A-42C7-A085-B7347EFF12E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0DEC9204-FD4F-4CE8-91AF-DE8DF44443BF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C62B22EF-7194-4330-9499-C535CE0BFFB9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351B48D0-28E6-4566-AC8C-8BCA46B8EB7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25" name="Graphic 42">
              <a:extLst>
                <a:ext uri="{FF2B5EF4-FFF2-40B4-BE49-F238E27FC236}">
                  <a16:creationId xmlns:a16="http://schemas.microsoft.com/office/drawing/2014/main" id="{C6B1C5CA-41F1-4426-98F4-3E4AF7A60900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315CD34-8FD2-4C9B-AC92-65F0686FC794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DBB9E60F-7FEA-4986-9593-FE7C2A7A0BEE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4CF87503-2F47-4241-B16F-609CDF979EF7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D31AE9E1-0D40-477D-B828-7B485AA8FEBE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2525459E-750F-4BD8-80DD-701FC6FAF98D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895DC87E-6E80-4FCF-AA30-E2B8D5E5BDC7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9B0C054-0F13-42F8-B62B-6829F5EB2EE0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E6FDE56B-60ED-4977-ADE4-AE90854852A3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77ACBB9B-018A-456B-BEA2-D1E41A2F0C44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E3826E36-AE13-46DA-ABCB-5DC29475648A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EFF066B-7A01-426B-A324-435302C07BE3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80782F6E-0DE5-4FC5-BD2E-E587B5DBB2E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EC70567F-3B3C-42DF-9F9B-415E4945ACF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D2A115A-5233-4F62-9130-0679A53ABA91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A2B36BAB-71C7-4750-B5B9-39A588F94C17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A61E9087-FAFB-4444-93B1-99E04D96852A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4AD44082-91D8-4352-A90C-215687FA9652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B01ADED-A270-4CBD-900F-79F3858BD477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A6C86AFB-B5D4-48B9-8578-B6AFFB9D45F5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B01788A0-8803-419B-9D37-17A354FFA10D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349DB3F-FFFC-48F7-8713-8057BC16BE9D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4ED48782-641A-408A-8DE2-B0CAC39562A6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D2296E5C-5725-47EA-95EF-53CE28B8AC9D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88F26FF-F2CB-4C73-A5BB-6288378DD8DA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A97F1D36-F238-49A7-9CEB-04D36BD61F6F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B6A3E284-85B8-4CAC-B5A8-833FEAD26319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4EAD30CB-938D-43F4-BBFA-1452FA30413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72E63A2A-7DB1-4637-9233-D1EFAF23EF3A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2853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26" Type="http://schemas.openxmlformats.org/officeDocument/2006/relationships/slideLayout" Target="../slideLayouts/slideLayout50.xml"/><Relationship Id="rId39" Type="http://schemas.openxmlformats.org/officeDocument/2006/relationships/image" Target="../media/image8.png"/><Relationship Id="rId21" Type="http://schemas.openxmlformats.org/officeDocument/2006/relationships/slideLayout" Target="../slideLayouts/slideLayout45.xml"/><Relationship Id="rId34" Type="http://schemas.openxmlformats.org/officeDocument/2006/relationships/image" Target="../media/image5.sv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5" Type="http://schemas.openxmlformats.org/officeDocument/2006/relationships/slideLayout" Target="../slideLayouts/slideLayout49.xml"/><Relationship Id="rId33" Type="http://schemas.openxmlformats.org/officeDocument/2006/relationships/image" Target="../media/image4.png"/><Relationship Id="rId38" Type="http://schemas.openxmlformats.org/officeDocument/2006/relationships/image" Target="../media/image7.png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29" Type="http://schemas.openxmlformats.org/officeDocument/2006/relationships/tags" Target="../tags/tag9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24" Type="http://schemas.openxmlformats.org/officeDocument/2006/relationships/slideLayout" Target="../slideLayouts/slideLayout48.xml"/><Relationship Id="rId32" Type="http://schemas.openxmlformats.org/officeDocument/2006/relationships/image" Target="../media/image3.emf"/><Relationship Id="rId37" Type="http://schemas.openxmlformats.org/officeDocument/2006/relationships/image" Target="../media/image6.png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23" Type="http://schemas.openxmlformats.org/officeDocument/2006/relationships/slideLayout" Target="../slideLayouts/slideLayout47.xml"/><Relationship Id="rId28" Type="http://schemas.openxmlformats.org/officeDocument/2006/relationships/theme" Target="../theme/theme2.xml"/><Relationship Id="rId36" Type="http://schemas.openxmlformats.org/officeDocument/2006/relationships/image" Target="../media/image2.svg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Relationship Id="rId22" Type="http://schemas.openxmlformats.org/officeDocument/2006/relationships/slideLayout" Target="../slideLayouts/slideLayout46.xml"/><Relationship Id="rId27" Type="http://schemas.openxmlformats.org/officeDocument/2006/relationships/slideLayout" Target="../slideLayouts/slideLayout51.xml"/><Relationship Id="rId30" Type="http://schemas.openxmlformats.org/officeDocument/2006/relationships/tags" Target="../tags/tag10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Freeform: Shape 74">
            <a:extLst>
              <a:ext uri="{FF2B5EF4-FFF2-40B4-BE49-F238E27FC236}">
                <a16:creationId xmlns:a16="http://schemas.microsoft.com/office/drawing/2014/main" id="{CFD1D920-036D-4BCE-A963-9A109BD6E29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83" imgH="384" progId="TCLayout.ActiveDocument.1">
                  <p:embed/>
                </p:oleObj>
              </mc:Choice>
              <mc:Fallback>
                <p:oleObj name="think-cell Slide" r:id="rId31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3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sp>
        <p:nvSpPr>
          <p:cNvPr id="42" name="Freeform 4">
            <a:extLst>
              <a:ext uri="{FF2B5EF4-FFF2-40B4-BE49-F238E27FC236}">
                <a16:creationId xmlns:a16="http://schemas.microsoft.com/office/drawing/2014/main" id="{13DF9A9F-26BE-4073-8E1D-B518CB89266F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88473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  <p:sldLayoutId id="2147484070" r:id="rId7"/>
    <p:sldLayoutId id="2147484071" r:id="rId8"/>
    <p:sldLayoutId id="2147484072" r:id="rId9"/>
    <p:sldLayoutId id="2147484073" r:id="rId10"/>
    <p:sldLayoutId id="2147484074" r:id="rId11"/>
    <p:sldLayoutId id="2147484075" r:id="rId12"/>
    <p:sldLayoutId id="2147484076" r:id="rId13"/>
    <p:sldLayoutId id="2147484077" r:id="rId14"/>
    <p:sldLayoutId id="2147484078" r:id="rId15"/>
    <p:sldLayoutId id="2147484079" r:id="rId16"/>
    <p:sldLayoutId id="2147484080" r:id="rId17"/>
    <p:sldLayoutId id="2147484081" r:id="rId18"/>
    <p:sldLayoutId id="2147484082" r:id="rId19"/>
    <p:sldLayoutId id="2147484083" r:id="rId20"/>
    <p:sldLayoutId id="2147484084" r:id="rId21"/>
    <p:sldLayoutId id="2147484085" r:id="rId22"/>
    <p:sldLayoutId id="2147484086" r:id="rId23"/>
    <p:sldLayoutId id="2147484087" r:id="rId24"/>
    <p:sldLayoutId id="2147484088" r:id="rId25"/>
    <p:sldLayoutId id="2147484089" r:id="rId26"/>
    <p:sldLayoutId id="2147484090" r:id="rId2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7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9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8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4BAE148F-C51E-4DD2-905A-8AA761DF3E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718648"/>
            <a:ext cx="6096000" cy="4769772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SIMULATION LIVE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76828" y="1205403"/>
            <a:ext cx="9341428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reo Simulation Live puts fast and easy simulation into the hands of every engineer providing real time analysis feedback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E9E150-9F95-4C70-8444-AE13ED21524E}"/>
              </a:ext>
            </a:extLst>
          </p:cNvPr>
          <p:cNvSpPr/>
          <p:nvPr/>
        </p:nvSpPr>
        <p:spPr>
          <a:xfrm>
            <a:off x="476827" y="2150806"/>
            <a:ext cx="1510147" cy="5678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31345D-4ACB-4F7F-AC85-B1A8E38BB4B1}"/>
              </a:ext>
            </a:extLst>
          </p:cNvPr>
          <p:cNvSpPr/>
          <p:nvPr/>
        </p:nvSpPr>
        <p:spPr>
          <a:xfrm>
            <a:off x="2127681" y="2150806"/>
            <a:ext cx="6206777" cy="56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Every design engineer that is focused on designing and developing high quality and high performance innovative product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911210-221E-4F49-965C-5D83ACFFE8ED}"/>
              </a:ext>
            </a:extLst>
          </p:cNvPr>
          <p:cNvSpPr/>
          <p:nvPr/>
        </p:nvSpPr>
        <p:spPr>
          <a:xfrm>
            <a:off x="476827" y="2798006"/>
            <a:ext cx="1510147" cy="180729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79199E-3EA8-4331-817C-02A974BABD1D}"/>
              </a:ext>
            </a:extLst>
          </p:cNvPr>
          <p:cNvSpPr/>
          <p:nvPr/>
        </p:nvSpPr>
        <p:spPr>
          <a:xfrm>
            <a:off x="2127683" y="2798006"/>
            <a:ext cx="9216194" cy="1807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Use real time analysis data to support and guide design decisions and critical values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Streamline product development and speed time-to-market 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product development cost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(e.g., prototypes, rework, scrap)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design cycles and speed NPI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after-market service, warranty and repair cost</a:t>
            </a:r>
          </a:p>
          <a:p>
            <a:pPr marL="344488" lvl="2" indent="-157163">
              <a:buSzPct val="90000"/>
              <a:buBlip>
                <a:blip r:embed="rId4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Increase market share via increased quality, brand loyalty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d competitive differentiation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3D4647"/>
              </a:solidFill>
              <a:latin typeface="PTCRaleway" panose="020B05030301010600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99639A-D06D-48D2-895A-52A88D3A16DA}"/>
              </a:ext>
            </a:extLst>
          </p:cNvPr>
          <p:cNvSpPr/>
          <p:nvPr/>
        </p:nvSpPr>
        <p:spPr>
          <a:xfrm>
            <a:off x="476827" y="4684676"/>
            <a:ext cx="1510147" cy="5910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FD3054-8D53-4BD8-B2CA-B2964856F366}"/>
              </a:ext>
            </a:extLst>
          </p:cNvPr>
          <p:cNvSpPr/>
          <p:nvPr/>
        </p:nvSpPr>
        <p:spPr>
          <a:xfrm>
            <a:off x="2127682" y="4745636"/>
            <a:ext cx="6095997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offers a new paradigm in 3D design exploration by putting real-time simulation in the hands of every engine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5F4217-3CBC-4906-8DA0-A4D3204608CA}"/>
              </a:ext>
            </a:extLst>
          </p:cNvPr>
          <p:cNvSpPr/>
          <p:nvPr/>
        </p:nvSpPr>
        <p:spPr>
          <a:xfrm>
            <a:off x="476827" y="5355126"/>
            <a:ext cx="1510147" cy="9546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2BB4F5-6BBE-4313-8093-E026F250E3B6}"/>
              </a:ext>
            </a:extLst>
          </p:cNvPr>
          <p:cNvSpPr/>
          <p:nvPr/>
        </p:nvSpPr>
        <p:spPr>
          <a:xfrm>
            <a:off x="2127682" y="5487206"/>
            <a:ext cx="5804362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is the integration of ANSYS Discovery technology into Creo, enabling near instantaneous </a:t>
            </a:r>
            <a:br>
              <a:rPr lang="en-US" sz="1400" dirty="0">
                <a:solidFill>
                  <a:schemeClr val="tx1"/>
                </a:solidFill>
              </a:rPr>
            </a:br>
            <a:r>
              <a:rPr lang="en-US" sz="1400" b="1" dirty="0">
                <a:solidFill>
                  <a:schemeClr val="tx1"/>
                </a:solidFill>
              </a:rPr>
              <a:t>static structural, thermal and modal simulation 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CBE70D-27C8-4531-B31B-371F6F42C665}"/>
              </a:ext>
            </a:extLst>
          </p:cNvPr>
          <p:cNvCxnSpPr>
            <a:cxnSpLocks/>
          </p:cNvCxnSpPr>
          <p:nvPr/>
        </p:nvCxnSpPr>
        <p:spPr>
          <a:xfrm>
            <a:off x="2083959" y="2150806"/>
            <a:ext cx="0" cy="5678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F64D1E-1150-400E-9058-4DBD3A04E36C}"/>
              </a:ext>
            </a:extLst>
          </p:cNvPr>
          <p:cNvCxnSpPr>
            <a:cxnSpLocks/>
          </p:cNvCxnSpPr>
          <p:nvPr/>
        </p:nvCxnSpPr>
        <p:spPr>
          <a:xfrm>
            <a:off x="2083959" y="2798005"/>
            <a:ext cx="0" cy="180729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CFA589E-FD4A-4228-8E60-59EE40B490B5}"/>
              </a:ext>
            </a:extLst>
          </p:cNvPr>
          <p:cNvCxnSpPr>
            <a:cxnSpLocks/>
          </p:cNvCxnSpPr>
          <p:nvPr/>
        </p:nvCxnSpPr>
        <p:spPr>
          <a:xfrm>
            <a:off x="2083959" y="4684674"/>
            <a:ext cx="0" cy="59107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FBC0CB8-23FC-4F43-B57D-7E3F28983CBA}"/>
              </a:ext>
            </a:extLst>
          </p:cNvPr>
          <p:cNvCxnSpPr>
            <a:cxnSpLocks/>
          </p:cNvCxnSpPr>
          <p:nvPr/>
        </p:nvCxnSpPr>
        <p:spPr>
          <a:xfrm>
            <a:off x="2083959" y="5355127"/>
            <a:ext cx="0" cy="9546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9742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/>
              <a:t>CREO SIMULATION LIVE ADVANCED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12087"/>
            <a:ext cx="10687777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Creo Simulation Live Advanced puts fast and easy fluid flow simulation in the hands of every engineer providing real time analysis feedback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E9E150-9F95-4C70-8444-AE13ED21524E}"/>
              </a:ext>
            </a:extLst>
          </p:cNvPr>
          <p:cNvSpPr/>
          <p:nvPr/>
        </p:nvSpPr>
        <p:spPr>
          <a:xfrm>
            <a:off x="490760" y="2120596"/>
            <a:ext cx="1510147" cy="56782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31345D-4ACB-4F7F-AC85-B1A8E38BB4B1}"/>
              </a:ext>
            </a:extLst>
          </p:cNvPr>
          <p:cNvSpPr/>
          <p:nvPr/>
        </p:nvSpPr>
        <p:spPr>
          <a:xfrm>
            <a:off x="2141615" y="2120596"/>
            <a:ext cx="5986386" cy="56782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Every design engineer that is focused on designing and developing high quality and high-performance innovative products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9911210-221E-4F49-965C-5D83ACFFE8ED}"/>
              </a:ext>
            </a:extLst>
          </p:cNvPr>
          <p:cNvSpPr/>
          <p:nvPr/>
        </p:nvSpPr>
        <p:spPr>
          <a:xfrm>
            <a:off x="490760" y="2767796"/>
            <a:ext cx="1510147" cy="196431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779199E-3EA8-4331-817C-02A974BABD1D}"/>
              </a:ext>
            </a:extLst>
          </p:cNvPr>
          <p:cNvSpPr/>
          <p:nvPr/>
        </p:nvSpPr>
        <p:spPr>
          <a:xfrm>
            <a:off x="2141616" y="2767796"/>
            <a:ext cx="5876110" cy="18072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Use real time analysis data to support and guide design decisions and critical values</a:t>
            </a:r>
          </a:p>
          <a:p>
            <a:pPr marL="344488" lvl="2" indent="-157163">
              <a:buSzPct val="90000"/>
              <a:buBlip>
                <a:blip r:embed="rId3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Streamline product development and speed time-to-market </a:t>
            </a:r>
          </a:p>
          <a:p>
            <a:pPr marL="344488" lvl="2" indent="-157163">
              <a:buSzPct val="90000"/>
              <a:buBlip>
                <a:blip r:embed="rId3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product development cost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(e.g., prototypes, rework, scrap)</a:t>
            </a:r>
          </a:p>
          <a:p>
            <a:pPr marL="344488" lvl="2" indent="-157163">
              <a:buSzPct val="90000"/>
              <a:buBlip>
                <a:blip r:embed="rId3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design cycles and speed NPI</a:t>
            </a:r>
          </a:p>
          <a:p>
            <a:pPr marL="344488" lvl="2" indent="-157163">
              <a:buSzPct val="90000"/>
              <a:buBlip>
                <a:blip r:embed="rId3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Reduce after-market service, warranty and repair cost</a:t>
            </a:r>
          </a:p>
          <a:p>
            <a:pPr marL="344488" lvl="2" indent="-157163">
              <a:buSzPct val="90000"/>
              <a:buBlip>
                <a:blip r:embed="rId3"/>
              </a:buBlip>
            </a:pP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Increase market share via increased quality, brand loyalty </a:t>
            </a:r>
            <a:b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</a:br>
            <a:r>
              <a:rPr lang="en-US" sz="1400" dirty="0">
                <a:solidFill>
                  <a:srgbClr val="3D4647"/>
                </a:solidFill>
                <a:latin typeface="PTCRaleway" panose="020B0503030101060003" pitchFamily="34" charset="0"/>
              </a:rPr>
              <a:t>and competitive differentiation</a:t>
            </a:r>
          </a:p>
          <a:p>
            <a:pPr marL="169863" lvl="1" indent="-169863">
              <a:buClr>
                <a:schemeClr val="bg2"/>
              </a:buClr>
              <a:buFont typeface="Wingdings" panose="05000000000000000000" pitchFamily="2" charset="2"/>
              <a:buChar char="§"/>
            </a:pPr>
            <a:endParaRPr lang="en-US" sz="1400" dirty="0">
              <a:solidFill>
                <a:srgbClr val="3D4647"/>
              </a:solidFill>
              <a:latin typeface="PTCRaleway" panose="020B0503030101060003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299639A-D06D-48D2-895A-52A88D3A16DA}"/>
              </a:ext>
            </a:extLst>
          </p:cNvPr>
          <p:cNvSpPr/>
          <p:nvPr/>
        </p:nvSpPr>
        <p:spPr>
          <a:xfrm>
            <a:off x="490760" y="4811482"/>
            <a:ext cx="1510147" cy="59107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DFD3054-8D53-4BD8-B2CA-B2964856F366}"/>
              </a:ext>
            </a:extLst>
          </p:cNvPr>
          <p:cNvSpPr/>
          <p:nvPr/>
        </p:nvSpPr>
        <p:spPr>
          <a:xfrm>
            <a:off x="2141615" y="4811482"/>
            <a:ext cx="4647272" cy="95410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Advanced offers a new paradigm in 3D design exploration by putting real-time fluid flow simulation in the hands of every engine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65F4217-3CBC-4906-8DA0-A4D3204608CA}"/>
              </a:ext>
            </a:extLst>
          </p:cNvPr>
          <p:cNvSpPr/>
          <p:nvPr/>
        </p:nvSpPr>
        <p:spPr>
          <a:xfrm>
            <a:off x="490760" y="5481932"/>
            <a:ext cx="1510147" cy="9546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2BB4F5-6BBE-4313-8093-E026F250E3B6}"/>
              </a:ext>
            </a:extLst>
          </p:cNvPr>
          <p:cNvSpPr/>
          <p:nvPr/>
        </p:nvSpPr>
        <p:spPr>
          <a:xfrm>
            <a:off x="2141615" y="5654652"/>
            <a:ext cx="5210528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reo Simulation Live Advanced is the integration of ANSYS Discovery technology into Creo, enabling near instantaneous </a:t>
            </a:r>
            <a:r>
              <a:rPr lang="en-US" sz="1400" b="1" dirty="0">
                <a:solidFill>
                  <a:schemeClr val="tx1"/>
                </a:solidFill>
              </a:rPr>
              <a:t>fluid flow simulation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ECBE70D-27C8-4531-B31B-371F6F42C665}"/>
              </a:ext>
            </a:extLst>
          </p:cNvPr>
          <p:cNvCxnSpPr>
            <a:cxnSpLocks/>
          </p:cNvCxnSpPr>
          <p:nvPr/>
        </p:nvCxnSpPr>
        <p:spPr>
          <a:xfrm>
            <a:off x="2097892" y="2120596"/>
            <a:ext cx="0" cy="56782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3F64D1E-1150-400E-9058-4DBD3A04E36C}"/>
              </a:ext>
            </a:extLst>
          </p:cNvPr>
          <p:cNvCxnSpPr>
            <a:cxnSpLocks/>
          </p:cNvCxnSpPr>
          <p:nvPr/>
        </p:nvCxnSpPr>
        <p:spPr>
          <a:xfrm>
            <a:off x="2097892" y="2767795"/>
            <a:ext cx="0" cy="196596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FCFA589E-FD4A-4228-8E60-59EE40B490B5}"/>
              </a:ext>
            </a:extLst>
          </p:cNvPr>
          <p:cNvCxnSpPr>
            <a:cxnSpLocks/>
          </p:cNvCxnSpPr>
          <p:nvPr/>
        </p:nvCxnSpPr>
        <p:spPr>
          <a:xfrm>
            <a:off x="2097892" y="4820716"/>
            <a:ext cx="0" cy="591076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5FBC0CB8-23FC-4F43-B57D-7E3F28983CBA}"/>
              </a:ext>
            </a:extLst>
          </p:cNvPr>
          <p:cNvCxnSpPr>
            <a:cxnSpLocks/>
          </p:cNvCxnSpPr>
          <p:nvPr/>
        </p:nvCxnSpPr>
        <p:spPr>
          <a:xfrm>
            <a:off x="2097892" y="5481933"/>
            <a:ext cx="0" cy="9546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4">
            <a:extLst>
              <a:ext uri="{FF2B5EF4-FFF2-40B4-BE49-F238E27FC236}">
                <a16:creationId xmlns:a16="http://schemas.microsoft.com/office/drawing/2014/main" id="{67855199-ECDE-411B-BC67-8775679F27E1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901410" y="3671445"/>
            <a:ext cx="2266941" cy="221691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42B591F1-A686-4DC9-9787-B25FEC9530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2869" t="23323" r="4405" b="6749"/>
          <a:stretch/>
        </p:blipFill>
        <p:spPr>
          <a:xfrm>
            <a:off x="7139922" y="4240221"/>
            <a:ext cx="2664502" cy="1919641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84647F2A-5D07-40F0-88B1-3BC082073E55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47471" y="1860136"/>
            <a:ext cx="4107878" cy="2435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3373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E8E2477-ED4E-4FB1-873E-581735A41B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Creo Simulation Live Packages</a:t>
            </a:r>
            <a:endParaRPr lang="fr-FR" dirty="0"/>
          </a:p>
        </p:txBody>
      </p:sp>
      <p:graphicFrame>
        <p:nvGraphicFramePr>
          <p:cNvPr id="4" name="Content Placeholder 5">
            <a:extLst>
              <a:ext uri="{FF2B5EF4-FFF2-40B4-BE49-F238E27FC236}">
                <a16:creationId xmlns:a16="http://schemas.microsoft.com/office/drawing/2014/main" id="{73D26D84-F2D4-454F-9CBC-CD99B83394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3427951"/>
              </p:ext>
            </p:extLst>
          </p:nvPr>
        </p:nvGraphicFramePr>
        <p:xfrm>
          <a:off x="289560" y="1178855"/>
          <a:ext cx="11571006" cy="5196314"/>
        </p:xfrm>
        <a:graphic>
          <a:graphicData uri="http://schemas.openxmlformats.org/drawingml/2006/table">
            <a:tbl>
              <a:tblPr firstRow="1">
                <a:tableStyleId>{D27102A9-8310-4765-A935-A1911B00CA55}</a:tableStyleId>
              </a:tblPr>
              <a:tblGrid>
                <a:gridCol w="1486184">
                  <a:extLst>
                    <a:ext uri="{9D8B030D-6E8A-4147-A177-3AD203B41FA5}">
                      <a16:colId xmlns:a16="http://schemas.microsoft.com/office/drawing/2014/main" val="1080268181"/>
                    </a:ext>
                  </a:extLst>
                </a:gridCol>
                <a:gridCol w="6900142">
                  <a:extLst>
                    <a:ext uri="{9D8B030D-6E8A-4147-A177-3AD203B41FA5}">
                      <a16:colId xmlns:a16="http://schemas.microsoft.com/office/drawing/2014/main" val="1898359982"/>
                    </a:ext>
                  </a:extLst>
                </a:gridCol>
                <a:gridCol w="1592340">
                  <a:extLst>
                    <a:ext uri="{9D8B030D-6E8A-4147-A177-3AD203B41FA5}">
                      <a16:colId xmlns:a16="http://schemas.microsoft.com/office/drawing/2014/main" val="190655166"/>
                    </a:ext>
                  </a:extLst>
                </a:gridCol>
                <a:gridCol w="1592340">
                  <a:extLst>
                    <a:ext uri="{9D8B030D-6E8A-4147-A177-3AD203B41FA5}">
                      <a16:colId xmlns:a16="http://schemas.microsoft.com/office/drawing/2014/main" val="2598908777"/>
                    </a:ext>
                  </a:extLst>
                </a:gridCol>
              </a:tblGrid>
              <a:tr h="4572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200" b="1" baseline="0" dirty="0">
                          <a:solidFill>
                            <a:schemeClr val="bg1"/>
                          </a:solidFill>
                        </a:rPr>
                        <a:t>Simulation</a:t>
                      </a:r>
                      <a:r>
                        <a:rPr lang="en-US" sz="1200" b="1" baseline="0" dirty="0"/>
                        <a:t> Mo</a:t>
                      </a:r>
                    </a:p>
                  </a:txBody>
                  <a:tcPr marL="0" marR="0" marT="0" marB="0" anchor="ctr" anchorCtr="1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90000"/>
                        </a:lnSpc>
                      </a:pPr>
                      <a:r>
                        <a:rPr lang="en-US" sz="1200" b="1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apability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reo Simulation Live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fr-FR" sz="1200" dirty="0">
                          <a:solidFill>
                            <a:schemeClr val="bg1"/>
                          </a:solidFill>
                        </a:rPr>
                        <a:t>Creo Simulation Live Advanced</a:t>
                      </a:r>
                      <a:endParaRPr lang="en-US" sz="1200" b="1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296908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ructural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fr-FR" sz="1100" kern="1200" dirty="0"/>
                        <a:t>Contraints: </a:t>
                      </a:r>
                      <a:r>
                        <a:rPr lang="fr-FR" sz="1100" kern="1200" dirty="0" err="1"/>
                        <a:t>Fixed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Displacement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Frictionless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Cylindrical</a:t>
                      </a:r>
                      <a:r>
                        <a:rPr lang="fr-FR" sz="1100" kern="1200" dirty="0"/>
                        <a:t>, Ball and </a:t>
                      </a:r>
                      <a:r>
                        <a:rPr lang="fr-FR" sz="1100" kern="1200" dirty="0" err="1"/>
                        <a:t>Planar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83141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Loads: Force, Moment, Pressure, Gravity, Centrifugal, Linear, Acceleration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836189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Contraints: Convection, Prescribed Temperature, Initial Temperatur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0622203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 err="1"/>
                        <a:t>Steady</a:t>
                      </a:r>
                      <a:r>
                        <a:rPr lang="fr-FR" sz="1100" kern="1200" dirty="0"/>
                        <a:t> State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5441209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ransient 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1536627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 Heat Loads: Heat Flow, Heat Flux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328875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dal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 err="1"/>
                        <a:t>Constraints</a:t>
                      </a:r>
                      <a:r>
                        <a:rPr lang="fr-FR" sz="1100" kern="1200" dirty="0"/>
                        <a:t>: </a:t>
                      </a:r>
                      <a:r>
                        <a:rPr lang="fr-FR" sz="1100" kern="1200" dirty="0" err="1"/>
                        <a:t>Fixed</a:t>
                      </a:r>
                      <a:r>
                        <a:rPr lang="fr-FR" sz="1100" kern="1200" dirty="0"/>
                        <a:t>, </a:t>
                      </a:r>
                      <a:r>
                        <a:rPr lang="fr-FR" sz="1100" kern="1200" dirty="0" err="1"/>
                        <a:t>Displacement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344188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un on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trained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r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nconstrained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6609438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ids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Fluid domain creation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344461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ternal Flow: Transient simulation (with or without time limit)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815505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 condition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0350236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l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Flow: Flow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elocities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fr-FR" sz="110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let</a:t>
                      </a:r>
                      <a:r>
                        <a:rPr lang="fr-FR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ressures, mass flow input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1820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ll Modes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Multi-body part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7542520"/>
                  </a:ext>
                </a:extLst>
              </a:tr>
              <a:tr h="37812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sults Display</a:t>
                      </a: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kern="1200" dirty="0"/>
                        <a:t>Structure Results: Von Mises Stress, Deformation, Directional Normal and Shear Stress, Principal Stress, Reaction Forces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2584999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imation, Units Selection, Simulation Probe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4757087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ode shape selection (i.e., 1,2,…)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8659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rmal Results: Temperature, Heat Flux and Transient Temperature graph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16102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nder Methods: Surface, Composite, Inverse Surface, Iso-Surface, Max/Min Value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739497"/>
                  </a:ext>
                </a:extLst>
              </a:tr>
              <a:tr h="22957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ids Results: Velocity, Temperature, Pressure, Time averaged display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18636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R="0" marT="0" marB="0" anchor="ctr"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luids Display: Streamlines for velocity results, Cut plane, Particles, Probes, Direction Fields</a:t>
                      </a:r>
                    </a:p>
                  </a:txBody>
                  <a:tcPr marR="0" marT="0" marB="0"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/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✔</a:t>
                      </a:r>
                    </a:p>
                  </a:txBody>
                  <a:tcPr marL="0" marR="0" marT="0" marB="0" anchor="ctr" anchorCtr="1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773201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5E9386B8-5C25-45BC-84E3-F7F7022D92AD}"/>
              </a:ext>
            </a:extLst>
          </p:cNvPr>
          <p:cNvSpPr txBox="1"/>
          <p:nvPr/>
        </p:nvSpPr>
        <p:spPr>
          <a:xfrm>
            <a:off x="3190875" y="6407455"/>
            <a:ext cx="5810250" cy="171450"/>
          </a:xfrm>
          <a:prstGeom prst="rect">
            <a:avLst/>
          </a:prstGeom>
        </p:spPr>
        <p:txBody>
          <a:bodyPr vert="horz" wrap="square" lIns="91440" tIns="45720" rIns="91440" bIns="45720" rtlCol="0"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CSL Advanced includes the capabilities of CSL and Fluids</a:t>
            </a:r>
          </a:p>
        </p:txBody>
      </p:sp>
    </p:spTree>
    <p:extLst>
      <p:ext uri="{BB962C8B-B14F-4D97-AF65-F5344CB8AC3E}">
        <p14:creationId xmlns:p14="http://schemas.microsoft.com/office/powerpoint/2010/main" val="355073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1_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FEB95A9-8402-45D3-8C19-F223C6D6EA2F}" vid="{17A1DA04-7A97-47C6-9762-348D0405999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849</TotalTime>
  <Words>570</Words>
  <Application>Microsoft Office PowerPoint</Application>
  <PresentationFormat>Widescreen</PresentationFormat>
  <Paragraphs>98</Paragraphs>
  <Slides>3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2" baseType="lpstr">
      <vt:lpstr>PTCRaleway</vt:lpstr>
      <vt:lpstr>PTCRaleway Black</vt:lpstr>
      <vt:lpstr>Arial</vt:lpstr>
      <vt:lpstr>Wingdings</vt:lpstr>
      <vt:lpstr>Century Gothic</vt:lpstr>
      <vt:lpstr>Arial Narrow</vt:lpstr>
      <vt:lpstr>PTC PowerPoint Template</vt:lpstr>
      <vt:lpstr>1_PTC PowerPoint Template</vt:lpstr>
      <vt:lpstr>think-cell Slide</vt:lpstr>
      <vt:lpstr>CREO SIMULATION LIVE EXTENSION</vt:lpstr>
      <vt:lpstr>CREO SIMULATION LIVE ADVANCED EXTENSION</vt:lpstr>
      <vt:lpstr>Creo Simulation Live Packag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2</cp:revision>
  <dcterms:created xsi:type="dcterms:W3CDTF">2021-10-13T03:56:04Z</dcterms:created>
  <dcterms:modified xsi:type="dcterms:W3CDTF">2023-10-19T09:19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